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3013B2E-04DD-4EFF-B408-F08905F9136D}"/>
    <pc:docChg chg="modSld">
      <pc:chgData name="Weigel Stefan (PAR-EPS)" userId="fd3b2067-2981-4ad8-bf3a-d2e1004e4fa8" providerId="ADAL" clId="{A3013B2E-04DD-4EFF-B408-F08905F9136D}" dt="2024-02-28T13:19:39.908" v="127" actId="27918"/>
      <pc:docMkLst>
        <pc:docMk/>
      </pc:docMkLst>
      <pc:sldChg chg="addSp modSp mod">
        <pc:chgData name="Weigel Stefan (PAR-EPS)" userId="fd3b2067-2981-4ad8-bf3a-d2e1004e4fa8" providerId="ADAL" clId="{A3013B2E-04DD-4EFF-B408-F08905F9136D}" dt="2024-02-28T13:19:39.908" v="127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A3013B2E-04DD-4EFF-B408-F08905F9136D}" dt="2024-02-16T09:02:18.981" v="36" actId="20577"/>
          <ac:spMkLst>
            <pc:docMk/>
            <pc:sldMk cId="2624746743" sldId="403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A3013B2E-04DD-4EFF-B408-F08905F9136D}" dt="2024-02-16T09:19:55.527" v="111"/>
          <ac:spMkLst>
            <pc:docMk/>
            <pc:sldMk cId="2624746743" sldId="403"/>
            <ac:spMk id="3" creationId="{BF9F3412-07EE-CF7C-181E-BA4B5DA84C5F}"/>
          </ac:spMkLst>
        </pc:spChg>
        <pc:graphicFrameChg chg="mod">
          <ac:chgData name="Weigel Stefan (PAR-EPS)" userId="fd3b2067-2981-4ad8-bf3a-d2e1004e4fa8" providerId="ADAL" clId="{A3013B2E-04DD-4EFF-B408-F08905F9136D}" dt="2024-02-16T09:20:40.077" v="114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3013B2E-04DD-4EFF-B408-F08905F9136D}" dt="2024-02-16T09:20:51.911" v="115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Herkunft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4</c:f>
              <c:strCache>
                <c:ptCount val="2"/>
                <c:pt idx="0">
                  <c:v>Produktion und Bezug 16,7 Hz</c:v>
                </c:pt>
                <c:pt idx="1">
                  <c:v>Produktion und Bezug 50 Hz</c:v>
                </c:pt>
              </c:strCache>
            </c:strRef>
          </c:cat>
          <c:val>
            <c:numRef>
              <c:f>data!$G$3:$G$4</c:f>
              <c:numCache>
                <c:formatCode>0.0</c:formatCode>
                <c:ptCount val="2"/>
                <c:pt idx="0">
                  <c:v>1852.5989999999999</c:v>
                </c:pt>
                <c:pt idx="1">
                  <c:v>701.13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7796454662666183"/>
          <c:y val="0.76629281032793894"/>
          <c:w val="0.44897059528414851"/>
          <c:h val="6.8877897515893377E-2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Anteile an der Verwendung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7</c:f>
              <c:strCache>
                <c:ptCount val="5"/>
                <c:pt idx="0">
                  <c:v>Bahnbetrieb SBB</c:v>
                </c:pt>
                <c:pt idx="1">
                  <c:v>Bahnbetrieb andere</c:v>
                </c:pt>
                <c:pt idx="2">
                  <c:v>Eigenverbrauch und Verluste</c:v>
                </c:pt>
                <c:pt idx="3">
                  <c:v>Pumpenbetrieb</c:v>
                </c:pt>
                <c:pt idx="4">
                  <c:v>Marktverkauf und Austauschabgabe *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2027.175</c:v>
                </c:pt>
                <c:pt idx="1">
                  <c:v>271.90499999999997</c:v>
                </c:pt>
                <c:pt idx="2">
                  <c:v>126.139</c:v>
                </c:pt>
                <c:pt idx="3">
                  <c:v>45.311</c:v>
                </c:pt>
                <c:pt idx="4">
                  <c:v>69.615000000000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8.0214018825848915E-2"/>
          <c:y val="0.72713556662919787"/>
          <c:w val="0.42213482325211132"/>
          <c:h val="0.16697345512314746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lektrische Energie für den Bahnbetrieb im 2023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662710284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579618448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85097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teile an der Herkunft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nteile an der Verwendu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51B01CC-189F-4F80-9403-B5172C1D5545}"/>
              </a:ext>
            </a:extLst>
          </p:cNvPr>
          <p:cNvSpPr txBox="1"/>
          <p:nvPr/>
        </p:nvSpPr>
        <p:spPr>
          <a:xfrm>
            <a:off x="6533438" y="6354325"/>
            <a:ext cx="103307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* In Nettosicht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7788033" y="5268324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96e82a89-ba48-4728-b345-cf206dbec8f1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0ED6265-59F8-4952-8CF8-7B3BD116FE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ktrische Energie für den Bahnbetrieb im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ktrische Energie für den Bahnbetrieb im 2023.</dc:title>
  <dc:creator>Meyer Raphael (KOM-PGA-VSF)</dc:creator>
  <cp:lastModifiedBy>Stefan Weigel (PAR-EPS)</cp:lastModifiedBy>
  <cp:revision>59</cp:revision>
  <cp:lastPrinted>2024-02-16T09:19:57Z</cp:lastPrinted>
  <dcterms:created xsi:type="dcterms:W3CDTF">2020-09-30T11:00:09Z</dcterms:created>
  <dcterms:modified xsi:type="dcterms:W3CDTF">2024-02-28T14:2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